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56" r:id="rId5"/>
    <p:sldId id="259" r:id="rId6"/>
    <p:sldId id="264" r:id="rId7"/>
    <p:sldId id="263" r:id="rId8"/>
    <p:sldId id="262" r:id="rId9"/>
    <p:sldId id="261" r:id="rId10"/>
    <p:sldId id="260" r:id="rId11"/>
    <p:sldId id="265" r:id="rId12"/>
  </p:sldIdLst>
  <p:sldSz cx="12192000" cy="6858000"/>
  <p:notesSz cx="6858000" cy="9144000"/>
  <p:custDataLst>
    <p:tags r:id="rId15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06" userDrawn="1">
          <p15:clr>
            <a:srgbClr val="A4A3A4"/>
          </p15:clr>
        </p15:guide>
        <p15:guide id="2" pos="717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orsen, Lene (LTH038)" initials="TL(" lastIdx="3" clrIdx="0">
    <p:extLst>
      <p:ext uri="{19B8F6BF-5375-455C-9EA6-DF929625EA0E}">
        <p15:presenceInfo xmlns:p15="http://schemas.microsoft.com/office/powerpoint/2012/main" userId="S-1-5-21-87712913-679880029-1868970003-3247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4F5"/>
    <a:srgbClr val="F4F9BF"/>
    <a:srgbClr val="F4F1EB"/>
    <a:srgbClr val="E8F7FF"/>
    <a:srgbClr val="001E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29" autoAdjust="0"/>
    <p:restoredTop sz="93969" autoAdjust="0"/>
  </p:normalViewPr>
  <p:slideViewPr>
    <p:cSldViewPr snapToGrid="0" snapToObjects="1">
      <p:cViewPr varScale="1">
        <p:scale>
          <a:sx n="64" d="100"/>
          <a:sy n="64" d="100"/>
        </p:scale>
        <p:origin x="258" y="78"/>
      </p:cViewPr>
      <p:guideLst>
        <p:guide pos="506"/>
        <p:guide pos="7174"/>
        <p:guide orient="horz" pos="2160"/>
      </p:guideLst>
    </p:cSldViewPr>
  </p:slideViewPr>
  <p:outlineViewPr>
    <p:cViewPr>
      <p:scale>
        <a:sx n="33" d="100"/>
        <a:sy n="33" d="100"/>
      </p:scale>
      <p:origin x="0" y="-264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391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07EBFA-2F76-40E0-9D2A-0D3C879B4958}" type="datetimeFigureOut">
              <a:rPr lang="en-GB" smtClean="0"/>
              <a:t>10/03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A8F6A3-431D-43D9-8660-8EFB11689FC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0023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16331E-A800-4306-AF5C-BFC9068FBA1E}" type="datetimeFigureOut">
              <a:rPr lang="en-GB" smtClean="0"/>
              <a:t>10/0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F4E237-93BB-4448-BA22-9861A6F3CE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320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emf"/><Relationship Id="rId5" Type="http://schemas.openxmlformats.org/officeDocument/2006/relationships/image" Target="../media/image7.jp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7.jp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96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4"/>
            <a:ext cx="10953600" cy="28212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14DCD78-F3AA-4ED8-9F36-911B0878938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3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2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324" y="215660"/>
            <a:ext cx="992214" cy="701762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83A05EF-5D28-F72E-01C1-8689B39441E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6250" y="5902325"/>
            <a:ext cx="1739900" cy="28257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505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391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"/>
          <a:stretch/>
        </p:blipFill>
        <p:spPr>
          <a:xfrm>
            <a:off x="0" y="-21976"/>
            <a:ext cx="12192000" cy="6901951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11002962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7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</a:t>
            </a:r>
            <a:r>
              <a:rPr lang="da-DK" dirty="0" err="1"/>
              <a:t>breaker</a:t>
            </a:r>
            <a:r>
              <a:rPr lang="da-DK" dirty="0"/>
              <a:t> slide max to linjer</a:t>
            </a: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6"/>
          </a:xfrm>
          <a:prstGeom prst="rect">
            <a:avLst/>
          </a:prstGeom>
        </p:spPr>
      </p:pic>
      <p:pic>
        <p:nvPicPr>
          <p:cNvPr id="9" name="LogoOne_bmkArt" descr="Logo for Beredskabsstyrelsen"/>
          <p:cNvPicPr/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78"/>
          <a:stretch/>
        </p:blipFill>
        <p:spPr>
          <a:xfrm>
            <a:off x="9963342" y="307024"/>
            <a:ext cx="1515097" cy="5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73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813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"/>
          <a:stretch/>
        </p:blipFill>
        <p:spPr>
          <a:xfrm>
            <a:off x="0" y="-21976"/>
            <a:ext cx="12192000" cy="6901951"/>
          </a:xfrm>
          <a:prstGeom prst="rect">
            <a:avLst/>
          </a:prstGeom>
        </p:spPr>
      </p:pic>
      <p:sp>
        <p:nvSpPr>
          <p:cNvPr id="11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5"/>
            <a:ext cx="11002962" cy="28212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8612D5D-CF25-4D46-BA5C-92765F937E6F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1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7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18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6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635" y="217512"/>
            <a:ext cx="971592" cy="687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770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14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214533" y="1585993"/>
            <a:ext cx="546153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460062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D6AE3ED-479C-450D-A7C4-8407C641F77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1DC7B16-F5EC-7625-1DE0-5183F4404ACF}"/>
              </a:ext>
            </a:extLst>
          </p:cNvPr>
          <p:cNvSpPr txBox="1"/>
          <p:nvPr userDrawn="1"/>
        </p:nvSpPr>
        <p:spPr>
          <a:xfrm>
            <a:off x="922336" y="6436499"/>
            <a:ext cx="11684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612D5D-CF25-4D46-BA5C-92765F937E6F}" type="datetime2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lang="en-US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505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468000"/>
            <a:ext cx="5340349" cy="565399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5340350" cy="720000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201357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583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1584001"/>
            <a:ext cx="5340350" cy="453799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1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309057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0176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11160125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760366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1835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>
            <a:spLocks/>
          </p:cNvSpPr>
          <p:nvPr userDrawn="1"/>
        </p:nvSpPr>
        <p:spPr bwMode="gray">
          <a:xfrm>
            <a:off x="503238" y="3213223"/>
            <a:ext cx="2417762" cy="10572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200" b="1" noProof="1">
                <a:latin typeface="+mn-lt"/>
              </a:rPr>
              <a:t>Gitter- og 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latin typeface="+mn-lt"/>
                <a:cs typeface="Arial" charset="0"/>
              </a:rPr>
              <a:t>For at se gitter- og 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  <a:cs typeface="Arial" charset="0"/>
              </a:rPr>
              <a:t>1.</a:t>
            </a:r>
            <a:r>
              <a:rPr lang="da-DK" sz="900" noProof="1">
                <a:latin typeface="+mn-lt"/>
                <a:cs typeface="Arial" charset="0"/>
              </a:rPr>
              <a:t> Klik på </a:t>
            </a:r>
            <a:r>
              <a:rPr lang="da-DK" sz="900" b="1" noProof="1">
                <a:latin typeface="+mn-lt"/>
                <a:cs typeface="Arial" charset="0"/>
              </a:rPr>
              <a:t>Vis</a:t>
            </a:r>
            <a:endParaRPr lang="da-DK" sz="900" noProof="1">
              <a:latin typeface="+mn-lt"/>
              <a:cs typeface="Arial" charset="0"/>
            </a:endParaRP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  <a:cs typeface="Arial" charset="0"/>
              </a:rPr>
              <a:t>2. </a:t>
            </a:r>
            <a:r>
              <a:rPr lang="da-DK" sz="900" noProof="1">
                <a:latin typeface="+mn-lt"/>
                <a:cs typeface="Arial" charset="0"/>
              </a:rPr>
              <a:t>Vælg </a:t>
            </a:r>
            <a:r>
              <a:rPr lang="da-DK" sz="900" b="1" noProof="1">
                <a:latin typeface="+mn-lt"/>
                <a:cs typeface="Arial" charset="0"/>
              </a:rPr>
              <a:t>Gitterlinjer</a:t>
            </a:r>
            <a:r>
              <a:rPr lang="da-DK" sz="900" noProof="1">
                <a:latin typeface="+mn-lt"/>
                <a:cs typeface="Arial" charset="0"/>
              </a:rPr>
              <a:t> og/eller </a:t>
            </a:r>
            <a:r>
              <a:rPr lang="da-DK" sz="900" b="1" noProof="1">
                <a:latin typeface="+mn-lt"/>
                <a:cs typeface="Arial" charset="0"/>
              </a:rPr>
              <a:t>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</a:rPr>
              <a:t>Tip</a:t>
            </a:r>
            <a:r>
              <a:rPr lang="da-DK" sz="900" noProof="1">
                <a:latin typeface="+mn-lt"/>
              </a:rPr>
              <a:t>: Alt + F9 for hurtig visning af hjælpelinjer</a:t>
            </a:r>
          </a:p>
        </p:txBody>
      </p:sp>
      <p:sp>
        <p:nvSpPr>
          <p:cNvPr id="5" name="Text Box 48"/>
          <p:cNvSpPr txBox="1">
            <a:spLocks noChangeArrowheads="1"/>
          </p:cNvSpPr>
          <p:nvPr userDrawn="1"/>
        </p:nvSpPr>
        <p:spPr bwMode="auto">
          <a:xfrm>
            <a:off x="503238" y="1592386"/>
            <a:ext cx="2417762" cy="1431925"/>
          </a:xfrm>
          <a:prstGeom prst="rect">
            <a:avLst/>
          </a:prstGeom>
          <a:noFill/>
          <a:ln>
            <a:noFill/>
          </a:ln>
        </p:spPr>
        <p:txBody>
          <a:bodyPr lIns="0" tIns="0" rIns="14400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b="1" noProof="1">
                <a:latin typeface="+mn-lt"/>
              </a:rPr>
              <a:t>For at justere side nummerering, dato og sidefod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a-DK" altLang="da-DK" sz="900" b="1" noProof="1">
                <a:latin typeface="+mn-lt"/>
              </a:rPr>
              <a:t>1. </a:t>
            </a:r>
            <a:r>
              <a:rPr lang="da-DK" altLang="da-DK" sz="900" noProof="1">
                <a:latin typeface="+mn-lt"/>
              </a:rPr>
              <a:t>Vælg </a:t>
            </a:r>
            <a:r>
              <a:rPr lang="da-DK" altLang="da-DK" sz="900" b="1" noProof="1">
                <a:latin typeface="+mn-lt"/>
              </a:rPr>
              <a:t>Indsæt</a:t>
            </a:r>
            <a:r>
              <a:rPr lang="da-DK" altLang="da-DK" sz="900" noProof="1">
                <a:latin typeface="+mn-lt"/>
              </a:rPr>
              <a:t> i topmenuen 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da-DK" altLang="da-DK" sz="900" b="1" noProof="1">
                <a:latin typeface="+mn-lt"/>
              </a:rPr>
              <a:t>2. </a:t>
            </a:r>
            <a:r>
              <a:rPr lang="da-DK" altLang="da-DK" sz="900" noProof="1">
                <a:latin typeface="+mn-lt"/>
              </a:rPr>
              <a:t>Vælg </a:t>
            </a:r>
            <a:r>
              <a:rPr lang="da-DK" altLang="da-DK" sz="900" b="1" noProof="1">
                <a:latin typeface="+mn-lt"/>
              </a:rPr>
              <a:t>Sidehoved og Sidefod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da-DK" sz="900" b="1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da-DK" sz="900" noProof="1">
                <a:latin typeface="+mn-lt"/>
              </a:rPr>
              <a:t>Vælg </a:t>
            </a:r>
            <a:r>
              <a:rPr lang="da-DK" sz="900" b="1" noProof="1">
                <a:latin typeface="+mn-lt"/>
              </a:rPr>
              <a:t>Anvend på alle </a:t>
            </a:r>
            <a:r>
              <a:rPr lang="da-DK" sz="900" noProof="1">
                <a:latin typeface="+mn-lt"/>
              </a:rPr>
              <a:t>eller </a:t>
            </a:r>
            <a:r>
              <a:rPr lang="da-DK" sz="900" b="1" noProof="1">
                <a:latin typeface="+mn-lt"/>
              </a:rPr>
              <a:t>Anvend</a:t>
            </a:r>
            <a:r>
              <a:rPr lang="da-DK" sz="900" noProof="1">
                <a:latin typeface="+mn-lt"/>
              </a:rPr>
              <a:t> hvis det kun skal være på et enkelt slide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da-DK" sz="900" noProof="1">
              <a:latin typeface="+mn-lt"/>
            </a:endParaRPr>
          </a:p>
        </p:txBody>
      </p:sp>
      <p:sp>
        <p:nvSpPr>
          <p:cNvPr id="6" name="AutoShape 4"/>
          <p:cNvSpPr>
            <a:spLocks/>
          </p:cNvSpPr>
          <p:nvPr userDrawn="1"/>
        </p:nvSpPr>
        <p:spPr bwMode="gray">
          <a:xfrm>
            <a:off x="3438525" y="1590675"/>
            <a:ext cx="1738313" cy="5397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200" b="1" noProof="1">
                <a:latin typeface="+mn-lt"/>
              </a:rPr>
              <a:t>Indsæt billede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latin typeface="+mn-lt"/>
                <a:cs typeface="Arial" charset="0"/>
              </a:rPr>
              <a:t>På layouts med billedholder klik på ikon og vælg </a:t>
            </a:r>
            <a:r>
              <a:rPr lang="da-DK" sz="900" b="1" noProof="1">
                <a:latin typeface="+mn-lt"/>
                <a:cs typeface="Arial" charset="0"/>
              </a:rPr>
              <a:t>Indsæt</a:t>
            </a:r>
            <a:endParaRPr lang="da-DK" sz="900" b="1" noProof="1">
              <a:latin typeface="+mn-lt"/>
            </a:endParaRPr>
          </a:p>
        </p:txBody>
      </p:sp>
      <p:pic>
        <p:nvPicPr>
          <p:cNvPr id="7" name="Billede 1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19725" y="1808163"/>
            <a:ext cx="2444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2"/>
          <p:cNvSpPr txBox="1">
            <a:spLocks noChangeArrowheads="1"/>
          </p:cNvSpPr>
          <p:nvPr userDrawn="1"/>
        </p:nvSpPr>
        <p:spPr bwMode="auto">
          <a:xfrm>
            <a:off x="3289300" y="2401888"/>
            <a:ext cx="2032000" cy="2308225"/>
          </a:xfrm>
          <a:prstGeom prst="rect">
            <a:avLst/>
          </a:prstGeom>
          <a:noFill/>
          <a:ln>
            <a:noFill/>
          </a:ln>
        </p:spPr>
        <p:txBody>
          <a:bodyPr lIns="14400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200" b="1" noProof="1">
                <a:latin typeface="+mn-lt"/>
                <a:cs typeface="+mn-cs"/>
              </a:rPr>
              <a:t>Beskær billede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1. </a:t>
            </a:r>
            <a:r>
              <a:rPr lang="da-DK" sz="900" noProof="1">
                <a:latin typeface="+mn-lt"/>
                <a:cs typeface="+mn-cs"/>
              </a:rPr>
              <a:t>Klik </a:t>
            </a:r>
            <a:r>
              <a:rPr lang="da-DK" sz="900" b="1" noProof="1">
                <a:latin typeface="+mn-lt"/>
                <a:cs typeface="+mn-cs"/>
              </a:rPr>
              <a:t>Beskær</a:t>
            </a:r>
            <a:r>
              <a:rPr lang="da-DK" sz="900" noProof="1">
                <a:latin typeface="+mn-lt"/>
                <a:cs typeface="+mn-cs"/>
              </a:rPr>
              <a:t> for at ændre billedets fokus/størrelse</a:t>
            </a:r>
            <a:endParaRPr lang="da-DK" altLang="da-DK" sz="900" noProof="1">
              <a:latin typeface="+mn-lt"/>
            </a:endParaRPr>
          </a:p>
          <a:p>
            <a:pPr eaLnBrk="1" fontAlgn="auto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900" b="1" noProof="1">
                <a:latin typeface="+mn-lt"/>
              </a:rPr>
              <a:t>2. </a:t>
            </a:r>
            <a:r>
              <a:rPr lang="da-DK" altLang="da-DK" sz="900" noProof="1">
                <a:latin typeface="+mn-lt"/>
              </a:rPr>
              <a:t>Ønsker du at skalere billedet, så hold </a:t>
            </a:r>
            <a:r>
              <a:rPr lang="da-DK" altLang="da-DK" sz="900" b="1" noProof="1">
                <a:latin typeface="+mn-lt"/>
              </a:rPr>
              <a:t>SHIFT</a:t>
            </a:r>
            <a:r>
              <a:rPr lang="da-DK" altLang="da-DK" sz="900" noProof="1">
                <a:latin typeface="+mn-lt"/>
              </a:rPr>
              <a:t>-knappen nede, mens der trækkes i billedets hjørner</a:t>
            </a: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3. </a:t>
            </a:r>
            <a:r>
              <a:rPr lang="da-DK" sz="900" noProof="1">
                <a:latin typeface="+mn-lt"/>
                <a:cs typeface="+mn-cs"/>
              </a:rPr>
              <a:t>Højreklik på billedet </a:t>
            </a:r>
            <a:br>
              <a:rPr lang="da-DK" sz="900" noProof="1">
                <a:latin typeface="+mn-lt"/>
                <a:cs typeface="+mn-cs"/>
              </a:rPr>
            </a:br>
            <a:r>
              <a:rPr lang="da-DK" sz="900" noProof="1">
                <a:latin typeface="+mn-lt"/>
                <a:cs typeface="+mn-cs"/>
              </a:rPr>
              <a:t>og vælg </a:t>
            </a:r>
            <a:r>
              <a:rPr lang="da-DK" sz="900" b="1" noProof="1">
                <a:latin typeface="+mn-lt"/>
                <a:cs typeface="+mn-cs"/>
              </a:rPr>
              <a:t>Placer bagerst</a:t>
            </a:r>
            <a:endParaRPr lang="da-DK" sz="900" noProof="1">
              <a:latin typeface="+mn-lt"/>
              <a:cs typeface="+mn-cs"/>
            </a:endParaRP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Tips</a:t>
            </a:r>
            <a:r>
              <a:rPr lang="da-DK" sz="900" noProof="1">
                <a:latin typeface="+mn-lt"/>
                <a:cs typeface="+mn-cs"/>
              </a:rPr>
              <a:t>: Hvis du sletter billedet, og indsætter et nyt, kan billedet lægge sig foran tekst og grafik, hvis dette sker, skal du vælge billedet, højreklik og vælg </a:t>
            </a:r>
            <a:r>
              <a:rPr lang="da-DK" sz="900" b="1" noProof="1">
                <a:latin typeface="+mn-lt"/>
                <a:cs typeface="+mn-cs"/>
              </a:rPr>
              <a:t>Placer bagest</a:t>
            </a:r>
            <a:endParaRPr lang="da-DK" altLang="da-DK" sz="900" noProof="1">
              <a:latin typeface="+mn-lt"/>
            </a:endParaRPr>
          </a:p>
        </p:txBody>
      </p:sp>
      <p:pic>
        <p:nvPicPr>
          <p:cNvPr id="9" name="Billede 13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27663" y="3317875"/>
            <a:ext cx="338137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Billede 14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40363" y="3732213"/>
            <a:ext cx="261937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 txBox="1">
            <a:spLocks/>
          </p:cNvSpPr>
          <p:nvPr userDrawn="1"/>
        </p:nvSpPr>
        <p:spPr>
          <a:xfrm>
            <a:off x="514800" y="468000"/>
            <a:ext cx="8137525" cy="69691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da-DK" dirty="0">
                <a:solidFill>
                  <a:srgbClr val="FF0000"/>
                </a:solidFill>
              </a:rPr>
              <a:t>Brugerguide - slet før anvendelse</a:t>
            </a:r>
          </a:p>
        </p:txBody>
      </p:sp>
      <p:pic>
        <p:nvPicPr>
          <p:cNvPr id="14" name="Billede 18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67663" y="3286125"/>
            <a:ext cx="5492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6391275" y="1582738"/>
            <a:ext cx="1927225" cy="2586037"/>
          </a:xfrm>
          <a:prstGeom prst="rect">
            <a:avLst/>
          </a:prstGeom>
          <a:noFill/>
          <a:ln>
            <a:noFill/>
          </a:ln>
        </p:spPr>
        <p:txBody>
          <a:bodyPr lIns="0" tIns="0" rIns="14400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050" b="1" noProof="1">
                <a:latin typeface="+mn-lt"/>
              </a:rPr>
              <a:t>Brug teksttypografier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900" noProof="1">
                <a:latin typeface="+mn-lt"/>
              </a:rPr>
              <a:t>Brug </a:t>
            </a:r>
            <a:r>
              <a:rPr lang="en-GB" altLang="da-DK" sz="900" b="1" noProof="1">
                <a:latin typeface="+mn-lt"/>
              </a:rPr>
              <a:t>TAB</a:t>
            </a:r>
            <a:r>
              <a:rPr lang="en-GB" altLang="da-DK" sz="900" noProof="1">
                <a:latin typeface="+mn-lt"/>
              </a:rPr>
              <a:t> for at gå frem i tekst-niveauer. Klik ENTER, derefter TAB for at skifte 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fra et niveau til et næste.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900" noProof="1">
                <a:latin typeface="+mn-lt"/>
              </a:rPr>
              <a:t>Niveau 1 = Tekst 16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Niveau 2 = Tekst 14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Niveau 3-9 = Tekst 12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endParaRPr lang="en-GB" altLang="da-DK" sz="900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altLang="da-DK" sz="900" noProof="1">
                <a:latin typeface="+mn-lt"/>
              </a:rPr>
              <a:t>For at gå tilbage i tekst-niveauer, 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brug </a:t>
            </a:r>
            <a:r>
              <a:rPr lang="en-GB" altLang="da-DK" sz="900" b="1" noProof="1">
                <a:latin typeface="+mn-lt"/>
              </a:rPr>
              <a:t>SHIFT-TAB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en-GB" sz="900" b="1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900" noProof="1">
                <a:latin typeface="+mn-lt"/>
              </a:rPr>
              <a:t>Alternativt kan </a:t>
            </a:r>
            <a:br>
              <a:rPr lang="en-GB" sz="900" noProof="1">
                <a:latin typeface="+mn-lt"/>
              </a:rPr>
            </a:br>
            <a:r>
              <a:rPr lang="en-GB" sz="900" b="1" noProof="1">
                <a:latin typeface="+mn-lt"/>
              </a:rPr>
              <a:t>Forøg</a:t>
            </a:r>
            <a:r>
              <a:rPr lang="en-GB" sz="900" noProof="1">
                <a:latin typeface="+mn-lt"/>
              </a:rPr>
              <a:t> og </a:t>
            </a:r>
            <a:r>
              <a:rPr lang="en-GB" sz="900" b="1" noProof="1">
                <a:latin typeface="+mn-lt"/>
              </a:rPr>
              <a:t>Formindsk </a:t>
            </a:r>
            <a:br>
              <a:rPr lang="en-GB" sz="900" b="1" noProof="1">
                <a:latin typeface="+mn-lt"/>
              </a:rPr>
            </a:br>
            <a:r>
              <a:rPr lang="en-GB" sz="900" noProof="1">
                <a:latin typeface="+mn-lt"/>
              </a:rPr>
              <a:t>listeniveau bruge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en-GB" sz="700" noProof="1">
              <a:latin typeface="+mn-lt"/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496084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356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led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11002962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7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</a:t>
            </a:r>
            <a:r>
              <a:rPr lang="da-DK" dirty="0" err="1"/>
              <a:t>breaker</a:t>
            </a:r>
            <a:r>
              <a:rPr lang="da-DK" dirty="0"/>
              <a:t> slide max to linjer</a:t>
            </a: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98" t="32863" r="29895" b="41287"/>
          <a:stretch/>
        </p:blipFill>
        <p:spPr>
          <a:xfrm>
            <a:off x="9954441" y="322120"/>
            <a:ext cx="1523998" cy="5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3301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66936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06" imgH="306" progId="TCLayout.ActiveDocument.1">
                  <p:embed/>
                </p:oleObj>
              </mc:Choice>
              <mc:Fallback>
                <p:oleObj name="think-cell Slide" r:id="rId1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938" y="1584000"/>
            <a:ext cx="11004062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Indsæt</a:t>
            </a:r>
            <a:r>
              <a:rPr lang="en-US" dirty="0"/>
              <a:t> </a:t>
            </a:r>
            <a:r>
              <a:rPr lang="en-US" dirty="0" err="1"/>
              <a:t>tekst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938" y="504000"/>
            <a:ext cx="11004062" cy="72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 err="1"/>
              <a:t>Overskrif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max to </a:t>
            </a:r>
            <a:r>
              <a:rPr lang="en-US" dirty="0" err="1"/>
              <a:t>linjer</a:t>
            </a:r>
            <a:endParaRPr lang="en-GB" dirty="0"/>
          </a:p>
        </p:txBody>
      </p:sp>
      <p:sp>
        <p:nvSpPr>
          <p:cNvPr id="7" name="Date Placeholder 3"/>
          <p:cNvSpPr txBox="1">
            <a:spLocks/>
          </p:cNvSpPr>
          <p:nvPr userDrawn="1"/>
        </p:nvSpPr>
        <p:spPr>
          <a:xfrm>
            <a:off x="515939" y="6324615"/>
            <a:ext cx="690770" cy="23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a-DK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7B5E1AC-B4B8-4A09-BF1D-E5EC57C6C611}" type="slidenum">
              <a:rPr lang="en-US" sz="900" smtClean="0">
                <a:solidFill>
                  <a:schemeClr val="accent1"/>
                </a:solidFill>
              </a:rPr>
              <a:t>‹#›</a:t>
            </a:fld>
            <a:endParaRPr lang="en-GB" sz="900" dirty="0">
              <a:solidFill>
                <a:schemeClr val="accent1"/>
              </a:solidFill>
            </a:endParaRP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933" y="6237289"/>
            <a:ext cx="1505130" cy="287336"/>
          </a:xfrm>
          <a:prstGeom prst="rect">
            <a:avLst/>
          </a:prstGeom>
        </p:spPr>
      </p:pic>
      <p:sp>
        <p:nvSpPr>
          <p:cNvPr id="11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52586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60" r:id="rId3"/>
    <p:sldLayoutId id="2147483670" r:id="rId4"/>
    <p:sldLayoutId id="2147483671" r:id="rId5"/>
    <p:sldLayoutId id="2147483674" r:id="rId6"/>
    <p:sldLayoutId id="2147483672" r:id="rId7"/>
    <p:sldLayoutId id="2147483673" r:id="rId8"/>
    <p:sldLayoutId id="2147483663" r:id="rId9"/>
    <p:sldLayoutId id="2147483664" r:id="rId10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3060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600" b="0" kern="1200" baseline="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Wingdings 2" panose="05020102010507070707" pitchFamily="18" charset="2"/>
        </a:defRPr>
      </a:lvl1pPr>
      <a:lvl2pPr marL="360000" indent="-180000" algn="l" defTabSz="3060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80000" algn="l" defTabSz="3060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dirty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40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504" userDrawn="1">
          <p15:clr>
            <a:srgbClr val="F26B43"/>
          </p15:clr>
        </p15:guide>
        <p15:guide id="5" pos="3689" userDrawn="1">
          <p15:clr>
            <a:srgbClr val="F26B43"/>
          </p15:clr>
        </p15:guide>
        <p15:guide id="6" orient="horz" pos="997" userDrawn="1">
          <p15:clr>
            <a:srgbClr val="F26B43"/>
          </p15:clr>
        </p15:guide>
        <p15:guide id="7" orient="horz" pos="3855" userDrawn="1">
          <p15:clr>
            <a:srgbClr val="F26B43"/>
          </p15:clr>
        </p15:guide>
        <p15:guide id="8" pos="3991" userDrawn="1">
          <p15:clr>
            <a:srgbClr val="F26B43"/>
          </p15:clr>
        </p15:guide>
        <p15:guide id="9" orient="horz" pos="999" userDrawn="1">
          <p15:clr>
            <a:srgbClr val="F26B43"/>
          </p15:clr>
        </p15:guide>
        <p15:guide id="10" orient="horz" pos="3856" userDrawn="1">
          <p15:clr>
            <a:srgbClr val="F26B43"/>
          </p15:clr>
        </p15:guide>
        <p15:guide id="11" orient="horz" pos="4110" userDrawn="1">
          <p15:clr>
            <a:srgbClr val="F26B43"/>
          </p15:clr>
        </p15:guide>
        <p15:guide id="12" orient="horz" pos="32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ikkerhedsnet.dk/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3" descr="Logo: CFB – Center for Beredskabskommunikation">
            <a:extLst>
              <a:ext uri="{FF2B5EF4-FFF2-40B4-BE49-F238E27FC236}">
                <a16:creationId xmlns:a16="http://schemas.microsoft.com/office/drawing/2014/main" id="{72A601BD-B363-E2AE-BD27-CBF55B971B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7" name="Billede 6" descr="Logo: Beredskabsstyrelsen">
            <a:extLst>
              <a:ext uri="{FF2B5EF4-FFF2-40B4-BE49-F238E27FC236}">
                <a16:creationId xmlns:a16="http://schemas.microsoft.com/office/drawing/2014/main" id="{6730D59D-314D-A2DE-7A66-B8887F4CF53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324" y="215660"/>
            <a:ext cx="992214" cy="701762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475478" y="2068653"/>
            <a:ext cx="11002961" cy="1360347"/>
          </a:xfrm>
        </p:spPr>
        <p:txBody>
          <a:bodyPr/>
          <a:lstStyle/>
          <a:p>
            <a:r>
              <a:rPr lang="da-DK" sz="4800" dirty="0"/>
              <a:t>Talegrupper og skadestedssæt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AA343B3-A309-5B50-5688-D57EAA59A76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5938" y="6426200"/>
            <a:ext cx="1739900" cy="28257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CD6E90-65D4-484F-B20D-D4841E7747A2}" type="datetime2">
              <a:rPr kumimoji="0" lang="da-DK" sz="1000" b="1" i="0" u="none" strike="noStrike" kern="1200" cap="all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5632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0">
            <a:extLst>
              <a:ext uri="{FF2B5EF4-FFF2-40B4-BE49-F238E27FC236}">
                <a16:creationId xmlns:a16="http://schemas.microsoft.com/office/drawing/2014/main" id="{01667453-81BE-E1A1-3634-A59E7892C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68000"/>
            <a:ext cx="10980062" cy="720000"/>
          </a:xfrm>
        </p:spPr>
        <p:txBody>
          <a:bodyPr vert="horz"/>
          <a:lstStyle/>
          <a:p>
            <a:r>
              <a:rPr lang="da-DK" dirty="0"/>
              <a:t>Anvendelse af skadestedssæt på land</a:t>
            </a:r>
          </a:p>
        </p:txBody>
      </p:sp>
      <p:sp>
        <p:nvSpPr>
          <p:cNvPr id="5" name="Pladsholder til indhold 11">
            <a:extLst>
              <a:ext uri="{FF2B5EF4-FFF2-40B4-BE49-F238E27FC236}">
                <a16:creationId xmlns:a16="http://schemas.microsoft.com/office/drawing/2014/main" id="{06FDAEA9-0A36-A6AE-DE2E-0E445FF7D07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8" y="1584001"/>
            <a:ext cx="3523402" cy="1523184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Indhold i denne lektion</a:t>
            </a:r>
          </a:p>
          <a:p>
            <a:pPr>
              <a:spcBef>
                <a:spcPts val="1800"/>
              </a:spcBef>
            </a:pPr>
            <a:r>
              <a:rPr lang="da-DK" dirty="0"/>
              <a:t>Typer af skadestedssæt</a:t>
            </a:r>
          </a:p>
          <a:p>
            <a:r>
              <a:rPr lang="da-DK" dirty="0"/>
              <a:t>Skift til tildelt skadestedssæt </a:t>
            </a:r>
          </a:p>
          <a:p>
            <a:r>
              <a:rPr lang="da-DK" dirty="0"/>
              <a:t>Frigivelse af skadestedssæt</a:t>
            </a:r>
          </a:p>
        </p:txBody>
      </p:sp>
      <p:pic>
        <p:nvPicPr>
          <p:cNvPr id="12" name="Billede 2">
            <a:extLst>
              <a:ext uri="{FF2B5EF4-FFF2-40B4-BE49-F238E27FC236}">
                <a16:creationId xmlns:a16="http://schemas.microsoft.com/office/drawing/2014/main" id="{3EE8BB29-2453-0341-1AE9-5B4EA4C9FC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7783" y="1405177"/>
            <a:ext cx="6446956" cy="4297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6248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4">
            <a:extLst>
              <a:ext uri="{FF2B5EF4-FFF2-40B4-BE49-F238E27FC236}">
                <a16:creationId xmlns:a16="http://schemas.microsoft.com/office/drawing/2014/main" id="{FD40A722-C608-2A34-18BB-CD0D66E65E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467999"/>
            <a:ext cx="5460061" cy="898823"/>
          </a:xfrm>
        </p:spPr>
        <p:txBody>
          <a:bodyPr vert="horz"/>
          <a:lstStyle/>
          <a:p>
            <a:r>
              <a:rPr lang="da-DK" dirty="0"/>
              <a:t>Oversigt over default SKS i politikredsene</a:t>
            </a:r>
            <a:br>
              <a:rPr lang="da-DK" dirty="0"/>
            </a:br>
            <a:endParaRPr lang="da-DK" dirty="0"/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A158CDCD-573E-2FD5-BEBF-E187E16445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8" y="1878677"/>
            <a:ext cx="4991727" cy="1550324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fault SKS er udgangspunkt for al tværfaglig kommunikation under tværfaglige hændels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fault SKS indeholder kun én talegruppe.</a:t>
            </a:r>
            <a:endParaRPr lang="en-US" dirty="0"/>
          </a:p>
        </p:txBody>
      </p:sp>
      <p:pic>
        <p:nvPicPr>
          <p:cNvPr id="10" name="Billede 5" descr="Kort som viser Oversigt over default SKS i politikredsene.&#10;Nordjyllands Politi: Default SKS 10&#10;Østjyllands Politi: Default SKS 20&#10;Midt- og Vestjyllands Politi: Default SKS 30&#10;Sydøstjyllands Politi: Default SKS 40&#10;Syd- og Sønderjyllands Politi: Default SKS 50&#10;Fyns Politi: Default SKS 60&#10;Sydsjælland og Lolland-Falsters Politi: Default SKS 70&#10;Midt- og Vestsjællands Politi: Default SKS 80&#10;Nordsjællands Politi: Default SKS 90&#10;Københavns Vestegns Politi: Default SKS 100&#10;Københavns Politi: Default SKS 110&#10;Bornholms Politi: Default SKS 120">
            <a:extLst>
              <a:ext uri="{FF2B5EF4-FFF2-40B4-BE49-F238E27FC236}">
                <a16:creationId xmlns:a16="http://schemas.microsoft.com/office/drawing/2014/main" id="{A94F2A40-BC95-E5BC-F486-F0EDFF5584DD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7665" y="159489"/>
            <a:ext cx="6448337" cy="66240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50954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 hidden="1">
            <a:extLst>
              <a:ext uri="{FF2B5EF4-FFF2-40B4-BE49-F238E27FC236}">
                <a16:creationId xmlns:a16="http://schemas.microsoft.com/office/drawing/2014/main" id="{92D8E05A-36B5-9D92-7F74-89C0901B12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  <a:endParaRPr lang="en-US" dirty="0"/>
          </a:p>
        </p:txBody>
      </p:sp>
      <p:pic>
        <p:nvPicPr>
          <p:cNvPr id="5" name="Billede 4" descr="Skærmprint af Et almindeligt SKS.&#10;Kontakt Center for Beredskabskommunikation for en gennemgang.">
            <a:extLst>
              <a:ext uri="{FF2B5EF4-FFF2-40B4-BE49-F238E27FC236}">
                <a16:creationId xmlns:a16="http://schemas.microsoft.com/office/drawing/2014/main" id="{882E9D79-143D-28AE-20CF-4A4F60FC31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547" y="174952"/>
            <a:ext cx="4998621" cy="6566416"/>
          </a:xfrm>
          <a:prstGeom prst="rect">
            <a:avLst/>
          </a:prstGeom>
        </p:spPr>
      </p:pic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B7FA2CFD-E4A9-E795-B18F-39EEFFE46E5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59484" y="889462"/>
            <a:ext cx="5665814" cy="301454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t almindeligt SKS er et sæt af op til fem talegrupper, som benyttes til tværgående kommunikation under en tværfaglige hændels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 oversigten fremgår det hvilke beredskabssektorer, der har adgang til hvilke talegrupper i et S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t er sektorafhængigt, hvilke af de fem talegrupper i SKS den enkelte beredskabsaktør har i sin radi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864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 hidden="1">
            <a:extLst>
              <a:ext uri="{FF2B5EF4-FFF2-40B4-BE49-F238E27FC236}">
                <a16:creationId xmlns:a16="http://schemas.microsoft.com/office/drawing/2014/main" id="{16DD609E-8D35-C0B8-81A7-2CD4C621A6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  <a:endParaRPr lang="en-US" dirty="0"/>
          </a:p>
        </p:txBody>
      </p:sp>
      <p:pic>
        <p:nvPicPr>
          <p:cNvPr id="10" name="Billede 4" descr="Skærmprint af et almindeligt SKS fordelt på politikredse.&#10;Kontakt Center for Beredskabskommunikation for en gennemgang.">
            <a:extLst>
              <a:ext uri="{FF2B5EF4-FFF2-40B4-BE49-F238E27FC236}">
                <a16:creationId xmlns:a16="http://schemas.microsoft.com/office/drawing/2014/main" id="{B60A1AA2-87AE-695B-0FE9-594B6C5DE9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619" y="165164"/>
            <a:ext cx="5264726" cy="6630429"/>
          </a:xfrm>
          <a:prstGeom prst="rect">
            <a:avLst/>
          </a:prstGeom>
        </p:spPr>
      </p:pic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9A6DE0B4-5430-2AD5-D69C-72F76694354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17425" y="1022465"/>
            <a:ext cx="4746568" cy="453599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r er til hver politikreds afsat ti SKS - ét default SKS og ni almindelige SKS. Københavns politikreds råder dog over flere SK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rudover har politiet en fællespulje, hvori vagtcentralerne kan reservere yderligere SKS efter behov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545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 hidden="1">
            <a:extLst>
              <a:ext uri="{FF2B5EF4-FFF2-40B4-BE49-F238E27FC236}">
                <a16:creationId xmlns:a16="http://schemas.microsoft.com/office/drawing/2014/main" id="{596FC62B-41C2-9A8F-C6A0-0B0C2952EB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  <a:endParaRPr lang="en-US" dirty="0"/>
          </a:p>
        </p:txBody>
      </p:sp>
      <p:pic>
        <p:nvPicPr>
          <p:cNvPr id="7" name="Billede 6" descr="Skærmprint af et assistance skadestedssæt (ASS SKS).&#10;Kontakt Center for Beredskabskommunikation for en gennemgang.">
            <a:extLst>
              <a:ext uri="{FF2B5EF4-FFF2-40B4-BE49-F238E27FC236}">
                <a16:creationId xmlns:a16="http://schemas.microsoft.com/office/drawing/2014/main" id="{CBF8FE98-57D2-D16F-7505-73321B65D9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7" y="260648"/>
            <a:ext cx="6439941" cy="5641388"/>
          </a:xfrm>
          <a:prstGeom prst="rect">
            <a:avLst/>
          </a:prstGeom>
        </p:spPr>
      </p:pic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8F1226E0-E4BC-33BC-2BDB-4AAA6911A8C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763467" y="1395353"/>
            <a:ext cx="5289987" cy="472664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t assistance skadestedssæt (ASS SKS) bruges i situationer, hvor der kun er brug for én talegruppe til tværfaglig kommunikation – fx under ambulanceeskorter eller på anden vis samarbejde mellem beredskabsmyndigheder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S SKS rekvireres hos ISL POLITI eller hos politiets vagtcentral og kan anvendes af alle beredskabe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8873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5190EF0B-0B1F-7607-E887-826D0B7CA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Faste skadestedssæt</a:t>
            </a:r>
            <a:br>
              <a:rPr lang="da-DK" dirty="0"/>
            </a:br>
            <a:endParaRPr lang="da-DK" dirty="0"/>
          </a:p>
        </p:txBody>
      </p:sp>
      <p:graphicFrame>
        <p:nvGraphicFramePr>
          <p:cNvPr id="6" name="Tabel 5">
            <a:extLst>
              <a:ext uri="{FF2B5EF4-FFF2-40B4-BE49-F238E27FC236}">
                <a16:creationId xmlns:a16="http://schemas.microsoft.com/office/drawing/2014/main" id="{E388B63E-7000-070C-E9A4-AF6D2A47F4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4907168"/>
              </p:ext>
            </p:extLst>
          </p:nvPr>
        </p:nvGraphicFramePr>
        <p:xfrm>
          <a:off x="386630" y="1047983"/>
          <a:ext cx="5090534" cy="518160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843295">
                  <a:extLst>
                    <a:ext uri="{9D8B030D-6E8A-4147-A177-3AD203B41FA5}">
                      <a16:colId xmlns:a16="http://schemas.microsoft.com/office/drawing/2014/main" val="3240325650"/>
                    </a:ext>
                  </a:extLst>
                </a:gridCol>
                <a:gridCol w="1247239">
                  <a:extLst>
                    <a:ext uri="{9D8B030D-6E8A-4147-A177-3AD203B41FA5}">
                      <a16:colId xmlns:a16="http://schemas.microsoft.com/office/drawing/2014/main" val="4118967019"/>
                    </a:ext>
                  </a:extLst>
                </a:gridCol>
              </a:tblGrid>
              <a:tr h="272201">
                <a:tc>
                  <a:txBody>
                    <a:bodyPr/>
                    <a:lstStyle/>
                    <a:p>
                      <a:r>
                        <a:rPr lang="da-DK" sz="1400" dirty="0">
                          <a:solidFill>
                            <a:schemeClr val="tx1"/>
                          </a:solidFill>
                        </a:rPr>
                        <a:t>Formål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>
                          <a:solidFill>
                            <a:schemeClr val="tx1"/>
                          </a:solidFill>
                        </a:rPr>
                        <a:t>Fast SKS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9136164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Reserveret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80-184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900083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Flyvestation Skrydstrup/Vojens Lufthavn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85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0941269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baseline="0" dirty="0"/>
                        <a:t>Olieraffinaderi i Kalundborg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86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085288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Slots- og Kulturstyrelsen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87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339475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Folketinget</a:t>
                      </a:r>
                      <a:r>
                        <a:rPr lang="da-DK" sz="1400" baseline="0" dirty="0"/>
                        <a:t> 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88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19981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Flyvestation</a:t>
                      </a:r>
                      <a:r>
                        <a:rPr lang="da-DK" sz="1400" baseline="0" dirty="0"/>
                        <a:t> Karup/Midtjyllands Lufthavn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89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1210241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Femern Forbindelsen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90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339098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Aalborg</a:t>
                      </a:r>
                      <a:r>
                        <a:rPr lang="da-DK" sz="1400" baseline="0" dirty="0"/>
                        <a:t> Lufthavn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93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988202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Aarhus Lufthavn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94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328986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Billund Lufthavn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95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6020309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Roskilde Lufthavn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96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027756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Storebæltsforbindelsen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97 og 198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5092631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Københavns</a:t>
                      </a:r>
                      <a:r>
                        <a:rPr lang="da-DK" sz="1400" baseline="0" dirty="0"/>
                        <a:t> Lufthavn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199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7899721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Øresundsforbindelsen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200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561105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Beredskabsstyrelsen</a:t>
                      </a:r>
                      <a:r>
                        <a:rPr lang="da-DK" sz="1400" baseline="0" dirty="0"/>
                        <a:t>, Uddannelsescenter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225-230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2655080"/>
                  </a:ext>
                </a:extLst>
              </a:tr>
              <a:tr h="272201">
                <a:tc>
                  <a:txBody>
                    <a:bodyPr/>
                    <a:lstStyle/>
                    <a:p>
                      <a:r>
                        <a:rPr lang="da-DK" sz="1400" dirty="0"/>
                        <a:t>Politiets interne kurser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231-232</a:t>
                      </a:r>
                      <a:endParaRPr lang="da-DK" sz="1400" dirty="0">
                        <a:solidFill>
                          <a:schemeClr val="tx1"/>
                        </a:solidFill>
                        <a:latin typeface="Politi" panose="02000503040000020004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6195292"/>
                  </a:ext>
                </a:extLst>
              </a:tr>
            </a:tbl>
          </a:graphicData>
        </a:graphic>
      </p:graphicFrame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252F4C9B-1DCB-FB31-AD07-9E72D62A333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95347" y="1407103"/>
            <a:ext cx="5460062" cy="305059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vis en hændelse finder sted på et objekt/område tildelt et fast SKS, skifter indsatsledelsen øjeblikkeligt til det faste SKS, talegruppe ISL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t bemærkes her, at fremkørslen til stedet også skal foregå på det faste SKS, talegruppe ISL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tte er for at sikre, at indsatsledelsen kan modtage information fra personale eller indsatsledelse på stedet under fremkørsle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3270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0">
            <a:extLst>
              <a:ext uri="{FF2B5EF4-FFF2-40B4-BE49-F238E27FC236}">
                <a16:creationId xmlns:a16="http://schemas.microsoft.com/office/drawing/2014/main" id="{01667453-81BE-E1A1-3634-A59E7892CB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tningslinjer for anvendelse af SINE</a:t>
            </a:r>
          </a:p>
        </p:txBody>
      </p:sp>
      <p:sp>
        <p:nvSpPr>
          <p:cNvPr id="5" name="Pladsholder til indhold 11">
            <a:extLst>
              <a:ext uri="{FF2B5EF4-FFF2-40B4-BE49-F238E27FC236}">
                <a16:creationId xmlns:a16="http://schemas.microsoft.com/office/drawing/2014/main" id="{06FDAEA9-0A36-A6AE-DE2E-0E445FF7D07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8" y="1584000"/>
            <a:ext cx="11002962" cy="4535999"/>
          </a:xfrm>
        </p:spPr>
        <p:txBody>
          <a:bodyPr/>
          <a:lstStyle/>
          <a:p>
            <a:r>
              <a:rPr lang="da-DK" dirty="0"/>
              <a:t>I REFAS (Retningslinjer for tværsektoriel anvendelse af SINE) kan der findes de aftalte retningslinjer for beredskabernes tværsektorielle kommunikation på SINE.</a:t>
            </a:r>
          </a:p>
          <a:p>
            <a:pPr>
              <a:spcBef>
                <a:spcPts val="2000"/>
              </a:spcBef>
            </a:pPr>
            <a:r>
              <a:rPr lang="da-DK" dirty="0"/>
              <a:t>Anvendelsen af SINE er illustreret i en række </a:t>
            </a:r>
            <a:r>
              <a:rPr lang="da-DK" dirty="0" err="1"/>
              <a:t>netskitser</a:t>
            </a:r>
            <a:r>
              <a:rPr lang="da-DK" dirty="0"/>
              <a:t>. </a:t>
            </a:r>
          </a:p>
          <a:p>
            <a:pPr marL="0" indent="0">
              <a:buNone/>
            </a:pPr>
            <a:r>
              <a:rPr lang="da-DK" dirty="0"/>
              <a:t>  Dette gælder både tværfaglige </a:t>
            </a:r>
            <a:r>
              <a:rPr lang="da-DK" dirty="0" err="1"/>
              <a:t>netskitser</a:t>
            </a:r>
            <a:r>
              <a:rPr lang="da-DK" dirty="0"/>
              <a:t> samt </a:t>
            </a:r>
            <a:r>
              <a:rPr lang="da-DK" dirty="0" err="1"/>
              <a:t>netskitser</a:t>
            </a:r>
            <a:r>
              <a:rPr lang="da-DK" dirty="0"/>
              <a:t> for de enkelte beredskabssektorer.</a:t>
            </a:r>
          </a:p>
          <a:p>
            <a:pPr marL="216000" indent="0">
              <a:spcBef>
                <a:spcPts val="10200"/>
              </a:spcBef>
              <a:buNone/>
            </a:pPr>
            <a:r>
              <a:rPr lang="da-DK" dirty="0"/>
              <a:t>REFAS og </a:t>
            </a:r>
            <a:r>
              <a:rPr lang="da-DK" dirty="0" err="1"/>
              <a:t>netskitser</a:t>
            </a:r>
            <a:r>
              <a:rPr lang="da-DK" dirty="0"/>
              <a:t> er tilgængelige på </a:t>
            </a:r>
            <a:r>
              <a:rPr lang="da-DK" dirty="0" err="1"/>
              <a:t>CFB’s</a:t>
            </a:r>
            <a:r>
              <a:rPr lang="da-DK" dirty="0"/>
              <a:t> hjemmeside:</a:t>
            </a:r>
          </a:p>
          <a:p>
            <a:pPr marL="216000" indent="0">
              <a:spcBef>
                <a:spcPts val="2000"/>
              </a:spcBef>
              <a:buNone/>
            </a:pPr>
            <a:r>
              <a:rPr lang="da-DK" dirty="0">
                <a:solidFill>
                  <a:srgbClr val="FF000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ikkerhedsnet.dk</a:t>
            </a:r>
            <a:endParaRPr lang="da-DK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9040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4b554a99-d9b4-4048-b584-de0a450a8ca2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Politi">
      <a:dk1>
        <a:srgbClr val="000000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BRS_CFB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kabelon PPT" id="{B15E92C6-FB5F-40D6-93E9-8810EEC208F9}" vid="{7D11487F-520A-45BE-B143-7AA189E7C150}"/>
    </a:ext>
  </a:extLst>
</a:theme>
</file>

<file path=ppt/theme/theme2.xml><?xml version="1.0" encoding="utf-8"?>
<a:theme xmlns:a="http://schemas.openxmlformats.org/drawingml/2006/main" name="Office Theme">
  <a:themeElements>
    <a:clrScheme name="Politi 2015">
      <a:dk1>
        <a:srgbClr val="001E3C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Pol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Politi 2015">
      <a:dk1>
        <a:srgbClr val="001E3C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Pol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616dde6-71bf-4cfb-9871-007fe6400b8b">
      <Value>49</Value>
      <Value>1144</Value>
      <Value>1039</Value>
      <Value>5</Value>
      <Value>20</Value>
      <Value>19</Value>
    </TaxCatchAll>
    <lcf76f155ced4ddcb4097134ff3c332f xmlns="7aade10d-a3e9-471e-92b7-f7367a55363c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7BB9BBC28A004898F5D99B0C997917" ma:contentTypeVersion="16" ma:contentTypeDescription="Create a new document." ma:contentTypeScope="" ma:versionID="89b1884c4f690ab48ee89b70eadef1ac">
  <xsd:schema xmlns:xsd="http://www.w3.org/2001/XMLSchema" xmlns:xs="http://www.w3.org/2001/XMLSchema" xmlns:p="http://schemas.microsoft.com/office/2006/metadata/properties" xmlns:ns2="1616dde6-71bf-4cfb-9871-007fe6400b8b" xmlns:ns3="7aade10d-a3e9-471e-92b7-f7367a55363c" targetNamespace="http://schemas.microsoft.com/office/2006/metadata/properties" ma:root="true" ma:fieldsID="89b4da2994c297867582948853f56774" ns2:_="" ns3:_="">
    <xsd:import namespace="1616dde6-71bf-4cfb-9871-007fe6400b8b"/>
    <xsd:import namespace="7aade10d-a3e9-471e-92b7-f7367a55363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Location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16dde6-71bf-4cfb-9871-007fe6400b8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b95a8ba-7087-42bd-bee5-ebff083419ef}" ma:internalName="TaxCatchAll" ma:showField="CatchAllData" ma:web="1616dde6-71bf-4cfb-9871-007fe6400b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ade10d-a3e9-471e-92b7-f7367a5536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845874f-449b-4218-ab9f-5cc441e389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940888-F264-4FB1-ADE3-E091525F4FC3}">
  <ds:schemaRefs>
    <ds:schemaRef ds:uri="1616dde6-71bf-4cfb-9871-007fe6400b8b"/>
    <ds:schemaRef ds:uri="http://purl.org/dc/dcmitype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documentManagement/types"/>
    <ds:schemaRef ds:uri="7aade10d-a3e9-471e-92b7-f7367a55363c"/>
  </ds:schemaRefs>
</ds:datastoreItem>
</file>

<file path=customXml/itemProps2.xml><?xml version="1.0" encoding="utf-8"?>
<ds:datastoreItem xmlns:ds="http://schemas.openxmlformats.org/officeDocument/2006/customXml" ds:itemID="{9F79E579-1264-4B45-93F4-DF6C7620E44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1B70416-2E1A-45BA-AD34-38BA86F250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16dde6-71bf-4cfb-9871-007fe6400b8b"/>
    <ds:schemaRef ds:uri="7aade10d-a3e9-471e-92b7-f7367a5536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S_CFB_PPT Skabelon_16-9_DA</Template>
  <TotalTime>99</TotalTime>
  <Words>393</Words>
  <Application>Microsoft Office PowerPoint</Application>
  <PresentationFormat>Widescreen</PresentationFormat>
  <Paragraphs>66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Politi</vt:lpstr>
      <vt:lpstr>Verdana</vt:lpstr>
      <vt:lpstr>Office-tema</vt:lpstr>
      <vt:lpstr>think-cell Slide</vt:lpstr>
      <vt:lpstr>Talegrupper og skadestedssæt</vt:lpstr>
      <vt:lpstr>Anvendelse af skadestedssæt på land</vt:lpstr>
      <vt:lpstr>Oversigt over default SKS i politikredsene </vt:lpstr>
      <vt:lpstr> </vt:lpstr>
      <vt:lpstr> </vt:lpstr>
      <vt:lpstr> </vt:lpstr>
      <vt:lpstr>Faste skadestedssæt </vt:lpstr>
      <vt:lpstr>Retningslinjer for anvendelse af SI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legrupper og skadestedssæt</dc:title>
  <dc:creator>Krog-Meyer, Flemming (FKR007)</dc:creator>
  <cp:revision>24</cp:revision>
  <dcterms:created xsi:type="dcterms:W3CDTF">2025-12-12T10:27:04Z</dcterms:created>
  <dcterms:modified xsi:type="dcterms:W3CDTF">2026-03-10T10:4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7BB9BBC28A004898F5D99B0C997917</vt:lpwstr>
  </property>
  <property fmtid="{D5CDD505-2E9C-101B-9397-08002B2CF9AE}" pid="3" name="Dokumenttype">
    <vt:lpwstr>20;#Blanket|aa561898-09ad-4bd8-b836-e9f30e861c33</vt:lpwstr>
  </property>
  <property fmtid="{D5CDD505-2E9C-101B-9397-08002B2CF9AE}" pid="4" name="PolitiSøgeord">
    <vt:lpwstr>49;#design|afeaf068-e141-4d9e-8694-2bf837bff27e;#1144;#powerpoint|46b1aabe-d694-4bab-8652-422dace1866f;#1039;#præsentation|46089da0-0b69-472b-a1a5-07c936daea85</vt:lpwstr>
  </property>
  <property fmtid="{D5CDD505-2E9C-101B-9397-08002B2CF9AE}" pid="5" name="RpchPolitikreds">
    <vt:lpwstr>19;#Rigspolitiet|4d255f1e-8d17-4deb-8f3b-fde0ed8a3164</vt:lpwstr>
  </property>
  <property fmtid="{D5CDD505-2E9C-101B-9397-08002B2CF9AE}" pid="6" name="PolitiEmneord">
    <vt:lpwstr>5;#Kommunikation|3a35817f-d49a-41a1-8d4f-b9d981a83b1d</vt:lpwstr>
  </property>
</Properties>
</file>